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4" r:id="rId1"/>
    <p:sldMasterId id="2147483797" r:id="rId2"/>
  </p:sldMasterIdLst>
  <p:notesMasterIdLst>
    <p:notesMasterId r:id="rId4"/>
  </p:notesMasterIdLst>
  <p:handoutMasterIdLst>
    <p:handoutMasterId r:id="rId5"/>
  </p:handoutMasterIdLst>
  <p:sldIdLst>
    <p:sldId id="2661" r:id="rId3"/>
  </p:sldIdLst>
  <p:sldSz cx="9144000" cy="6858000" type="screen4x3"/>
  <p:notesSz cx="7315200" cy="96012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6pPr>
    <a:lvl7pPr marL="27432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7pPr>
    <a:lvl8pPr marL="32004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8pPr>
    <a:lvl9pPr marL="3657600" algn="l" defTabSz="914400" rtl="0" eaLnBrk="1" latinLnBrk="0" hangingPunct="1">
      <a:defRPr sz="3600" b="1" kern="1200">
        <a:solidFill>
          <a:schemeClr val="bg1"/>
        </a:solidFill>
        <a:latin typeface="Arial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BC6"/>
    <a:srgbClr val="006600"/>
    <a:srgbClr val="FFFF00"/>
    <a:srgbClr val="33CC33"/>
    <a:srgbClr val="692AA2"/>
    <a:srgbClr val="B9D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CDB6D8-1137-4EEC-9104-CFE04290331B}" v="656" dt="2022-10-03T03:52:34.314"/>
    <p1510:client id="{7F6BCC90-D787-4595-9506-879FB83A84C0}" v="1" dt="2022-10-03T04:06:07.8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210" autoAdjust="0"/>
    <p:restoredTop sz="85196" autoAdjust="0"/>
  </p:normalViewPr>
  <p:slideViewPr>
    <p:cSldViewPr>
      <p:cViewPr varScale="1">
        <p:scale>
          <a:sx n="109" d="100"/>
          <a:sy n="109" d="100"/>
        </p:scale>
        <p:origin x="1328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42" y="-96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46635348-DBEF-4695-B298-01E05397A04B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002200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570"/>
            <a:ext cx="5852160" cy="43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 b="0">
                <a:solidFill>
                  <a:schemeClr val="tx1"/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solidFill>
                  <a:schemeClr val="tx1"/>
                </a:solidFill>
              </a:defRPr>
            </a:lvl1pPr>
          </a:lstStyle>
          <a:p>
            <a:fld id="{551FD892-07AC-4B6F-8844-47851227D720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578571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FADC69D1-1B88-4929-A492-B34F9AD596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5" indent="-171425"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26425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113599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3220E-834D-4C97-BDFC-C893B3371478}"/>
              </a:ext>
            </a:extLst>
          </p:cNvPr>
          <p:cNvCxnSpPr>
            <a:cxnSpLocks/>
          </p:cNvCxnSpPr>
          <p:nvPr userDrawn="1"/>
        </p:nvCxnSpPr>
        <p:spPr>
          <a:xfrm>
            <a:off x="-550718" y="852439"/>
            <a:ext cx="4774375" cy="0"/>
          </a:xfrm>
          <a:prstGeom prst="line">
            <a:avLst/>
          </a:prstGeom>
          <a:ln>
            <a:solidFill>
              <a:srgbClr val="33498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287379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2542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871199-0909-4F62-8375-503689002F26}"/>
              </a:ext>
            </a:extLst>
          </p:cNvPr>
          <p:cNvSpPr/>
          <p:nvPr userDrawn="1"/>
        </p:nvSpPr>
        <p:spPr>
          <a:xfrm>
            <a:off x="-174008" y="146889"/>
            <a:ext cx="5912427" cy="8836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0AC9D40-7382-46A2-93FD-17082B770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595" y="330921"/>
            <a:ext cx="4765833" cy="479425"/>
          </a:xfrm>
        </p:spPr>
        <p:txBody>
          <a:bodyPr>
            <a:noAutofit/>
          </a:bodyPr>
          <a:lstStyle>
            <a:lvl1pPr>
              <a:defRPr b="1">
                <a:latin typeface="Calibri (Body)"/>
              </a:defRPr>
            </a:lvl1pPr>
          </a:lstStyle>
          <a:p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7261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78978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1"/>
            <a:ext cx="294917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381075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522864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938277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80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6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550314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3881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fld id="{D2D6596F-891C-4E5A-A540-9B396B32324F}" type="datetime1">
              <a:rPr lang="id-ID"/>
              <a:pPr>
                <a:defRPr/>
              </a:pPr>
              <a:t>04/10/2022</a:t>
            </a:fld>
            <a:endParaRPr lang="id-ID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1015990"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</a:defRPr>
            </a:lvl1pPr>
          </a:lstStyle>
          <a:p>
            <a:pPr>
              <a:defRPr/>
            </a:pPr>
            <a:r>
              <a:rPr lang="id-ID"/>
              <a:t>www.hasnulsuhaimi.com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1015990">
              <a:defRPr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0F8ED778-6155-4B44-AD86-0F293272E7BF}" type="slidenum">
              <a:rPr lang="id-ID" altLang="en-US"/>
              <a:pPr>
                <a:defRPr/>
              </a:pPr>
              <a:t>‹#›</a:t>
            </a:fld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151169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30707-1A39-4C0E-927E-E75C766FB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830707-1A39-4C0E-927E-E75C766FB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155" y="381000"/>
            <a:ext cx="7202900" cy="685800"/>
          </a:xfrm>
        </p:spPr>
        <p:txBody>
          <a:bodyPr>
            <a:normAutofit/>
          </a:bodyPr>
          <a:lstStyle>
            <a:lvl1pPr>
              <a:defRPr sz="258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8 – Proprietary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F2B8-D07C-4A88-BB9A-3DABFE629FD3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0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1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3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 dirty="0"/>
              </a:p>
            </p:txBody>
          </p:sp>
        </p:grp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  <p:sp>
        <p:nvSpPr>
          <p:cNvPr id="24" name="Text Placeholder"/>
          <p:cNvSpPr>
            <a:spLocks noGrp="1"/>
          </p:cNvSpPr>
          <p:nvPr>
            <p:ph idx="1" hasCustomPrompt="1"/>
          </p:nvPr>
        </p:nvSpPr>
        <p:spPr>
          <a:xfrm>
            <a:off x="372157" y="1241427"/>
            <a:ext cx="8267639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marL="212669" indent="-212669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82062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73825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4B69BF-A909-4CA0-94E4-52ABB90054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46539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72155" y="381000"/>
            <a:ext cx="7202901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defRPr sz="2584" b="1" baseline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cs typeface="Arial" pitchFamily="34" charset="0"/>
                <a:sym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24600" y="6553200"/>
            <a:ext cx="25908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23" baseline="0">
                <a:latin typeface="Arial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Presentation Title Goes He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381002" y="1143000"/>
            <a:ext cx="8390845" cy="25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47" b="0" baseline="0">
                <a:solidFill>
                  <a:schemeClr val="accent3"/>
                </a:solidFill>
                <a:latin typeface="+mn-lt"/>
                <a:cs typeface="Arial" pitchFamily="34" charset="0"/>
                <a:sym typeface="Arial"/>
              </a:defRPr>
            </a:lvl1pPr>
          </a:lstStyle>
          <a:p>
            <a:pPr lvl="0"/>
            <a:r>
              <a:rPr lang="id-ID" dirty="0"/>
              <a:t>Subheadline Her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" y="0"/>
            <a:ext cx="3481756" cy="6863909"/>
            <a:chOff x="-1" y="0"/>
            <a:chExt cx="3771902" cy="6863909"/>
          </a:xfrm>
        </p:grpSpPr>
        <p:grpSp>
          <p:nvGrpSpPr>
            <p:cNvPr id="18" name="Group 17"/>
            <p:cNvGrpSpPr/>
            <p:nvPr userDrawn="1"/>
          </p:nvGrpSpPr>
          <p:grpSpPr>
            <a:xfrm>
              <a:off x="1" y="1363376"/>
              <a:ext cx="3771900" cy="5494623"/>
              <a:chOff x="-1" y="707655"/>
              <a:chExt cx="4228367" cy="6159570"/>
            </a:xfrm>
            <a:gradFill>
              <a:gsLst>
                <a:gs pos="31000">
                  <a:schemeClr val="bg1">
                    <a:lumMod val="95000"/>
                    <a:alpha val="24000"/>
                  </a:schemeClr>
                </a:gs>
                <a:gs pos="96000">
                  <a:schemeClr val="bg1">
                    <a:lumMod val="95000"/>
                    <a:alpha val="36000"/>
                  </a:schemeClr>
                </a:gs>
              </a:gsLst>
              <a:lin ang="0" scaled="0"/>
            </a:gradFill>
          </p:grpSpPr>
          <p:sp>
            <p:nvSpPr>
              <p:cNvPr id="23" name="Freeform 929"/>
              <p:cNvSpPr>
                <a:spLocks/>
              </p:cNvSpPr>
              <p:nvPr userDrawn="1"/>
            </p:nvSpPr>
            <p:spPr bwMode="auto">
              <a:xfrm>
                <a:off x="2928605" y="2775831"/>
                <a:ext cx="1299761" cy="588575"/>
              </a:xfrm>
              <a:custGeom>
                <a:avLst/>
                <a:gdLst>
                  <a:gd name="T0" fmla="*/ 0 w 318"/>
                  <a:gd name="T1" fmla="*/ 92 h 144"/>
                  <a:gd name="T2" fmla="*/ 112 w 318"/>
                  <a:gd name="T3" fmla="*/ 0 h 144"/>
                  <a:gd name="T4" fmla="*/ 318 w 318"/>
                  <a:gd name="T5" fmla="*/ 144 h 144"/>
                  <a:gd name="T6" fmla="*/ 0 w 318"/>
                  <a:gd name="T7" fmla="*/ 92 h 144"/>
                  <a:gd name="T8" fmla="*/ 0 w 318"/>
                  <a:gd name="T9" fmla="*/ 9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8" h="144">
                    <a:moveTo>
                      <a:pt x="0" y="92"/>
                    </a:moveTo>
                    <a:lnTo>
                      <a:pt x="112" y="0"/>
                    </a:lnTo>
                    <a:lnTo>
                      <a:pt x="318" y="144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4" name="Freeform 930"/>
              <p:cNvSpPr>
                <a:spLocks/>
              </p:cNvSpPr>
              <p:nvPr userDrawn="1"/>
            </p:nvSpPr>
            <p:spPr bwMode="auto">
              <a:xfrm>
                <a:off x="2327772" y="3384841"/>
                <a:ext cx="972780" cy="2742580"/>
              </a:xfrm>
              <a:custGeom>
                <a:avLst/>
                <a:gdLst>
                  <a:gd name="T0" fmla="*/ 145 w 238"/>
                  <a:gd name="T1" fmla="*/ 671 h 671"/>
                  <a:gd name="T2" fmla="*/ 238 w 238"/>
                  <a:gd name="T3" fmla="*/ 17 h 671"/>
                  <a:gd name="T4" fmla="*/ 133 w 238"/>
                  <a:gd name="T5" fmla="*/ 0 h 671"/>
                  <a:gd name="T6" fmla="*/ 0 w 238"/>
                  <a:gd name="T7" fmla="*/ 479 h 671"/>
                  <a:gd name="T8" fmla="*/ 145 w 238"/>
                  <a:gd name="T9" fmla="*/ 671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" h="671">
                    <a:moveTo>
                      <a:pt x="145" y="671"/>
                    </a:moveTo>
                    <a:lnTo>
                      <a:pt x="238" y="17"/>
                    </a:lnTo>
                    <a:lnTo>
                      <a:pt x="133" y="0"/>
                    </a:lnTo>
                    <a:lnTo>
                      <a:pt x="0" y="479"/>
                    </a:lnTo>
                    <a:lnTo>
                      <a:pt x="145" y="6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  <p:sp>
            <p:nvSpPr>
              <p:cNvPr id="25" name="Freeform 24"/>
              <p:cNvSpPr>
                <a:spLocks/>
              </p:cNvSpPr>
              <p:nvPr userDrawn="1"/>
            </p:nvSpPr>
            <p:spPr bwMode="auto">
              <a:xfrm>
                <a:off x="-1" y="2752795"/>
                <a:ext cx="2765113" cy="4114430"/>
              </a:xfrm>
              <a:custGeom>
                <a:avLst/>
                <a:gdLst>
                  <a:gd name="connsiteX0" fmla="*/ 0 w 2765113"/>
                  <a:gd name="connsiteY0" fmla="*/ 0 h 4114430"/>
                  <a:gd name="connsiteX1" fmla="*/ 2765113 w 2765113"/>
                  <a:gd name="connsiteY1" fmla="*/ 3668914 h 4114430"/>
                  <a:gd name="connsiteX2" fmla="*/ 2184716 w 2765113"/>
                  <a:gd name="connsiteY2" fmla="*/ 4114430 h 4114430"/>
                  <a:gd name="connsiteX3" fmla="*/ 128803 w 2765113"/>
                  <a:gd name="connsiteY3" fmla="*/ 4065383 h 4114430"/>
                  <a:gd name="connsiteX4" fmla="*/ 0 w 2765113"/>
                  <a:gd name="connsiteY4" fmla="*/ 3360884 h 4114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5113" h="4114430">
                    <a:moveTo>
                      <a:pt x="0" y="0"/>
                    </a:moveTo>
                    <a:lnTo>
                      <a:pt x="2765113" y="3668914"/>
                    </a:lnTo>
                    <a:lnTo>
                      <a:pt x="2184716" y="4114430"/>
                    </a:lnTo>
                    <a:lnTo>
                      <a:pt x="128803" y="4065383"/>
                    </a:lnTo>
                    <a:lnTo>
                      <a:pt x="0" y="33608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661"/>
              </a:p>
            </p:txBody>
          </p:sp>
          <p:sp>
            <p:nvSpPr>
              <p:cNvPr id="26" name="Freeform 932"/>
              <p:cNvSpPr>
                <a:spLocks/>
              </p:cNvSpPr>
              <p:nvPr userDrawn="1"/>
            </p:nvSpPr>
            <p:spPr bwMode="auto">
              <a:xfrm>
                <a:off x="737806" y="707655"/>
                <a:ext cx="1659448" cy="4365240"/>
              </a:xfrm>
              <a:custGeom>
                <a:avLst/>
                <a:gdLst>
                  <a:gd name="T0" fmla="*/ 406 w 406"/>
                  <a:gd name="T1" fmla="*/ 831 h 1068"/>
                  <a:gd name="T2" fmla="*/ 147 w 406"/>
                  <a:gd name="T3" fmla="*/ 0 h 1068"/>
                  <a:gd name="T4" fmla="*/ 0 w 406"/>
                  <a:gd name="T5" fmla="*/ 617 h 1068"/>
                  <a:gd name="T6" fmla="*/ 340 w 406"/>
                  <a:gd name="T7" fmla="*/ 1068 h 1068"/>
                  <a:gd name="T8" fmla="*/ 406 w 406"/>
                  <a:gd name="T9" fmla="*/ 831 h 1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1068">
                    <a:moveTo>
                      <a:pt x="406" y="831"/>
                    </a:moveTo>
                    <a:lnTo>
                      <a:pt x="147" y="0"/>
                    </a:lnTo>
                    <a:lnTo>
                      <a:pt x="0" y="617"/>
                    </a:lnTo>
                    <a:lnTo>
                      <a:pt x="340" y="1068"/>
                    </a:lnTo>
                    <a:lnTo>
                      <a:pt x="406" y="8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1"/>
              </a:p>
            </p:txBody>
          </p:sp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3035214" y="3344105"/>
              <a:ext cx="6863907" cy="175702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-1" y="0"/>
              <a:ext cx="311151" cy="6858000"/>
            </a:xfrm>
            <a:prstGeom prst="rect">
              <a:avLst/>
            </a:prstGeom>
            <a:gradFill>
              <a:gsLst>
                <a:gs pos="25000">
                  <a:schemeClr val="accent2"/>
                </a:gs>
                <a:gs pos="100000">
                  <a:schemeClr val="tx1"/>
                </a:gs>
              </a:gsLst>
              <a:lin ang="2159400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  <p:sp>
          <p:nvSpPr>
            <p:cNvPr id="22" name="Freeform 21"/>
            <p:cNvSpPr/>
            <p:nvPr userDrawn="1"/>
          </p:nvSpPr>
          <p:spPr>
            <a:xfrm>
              <a:off x="0" y="3168650"/>
              <a:ext cx="311150" cy="3689350"/>
            </a:xfrm>
            <a:custGeom>
              <a:avLst/>
              <a:gdLst>
                <a:gd name="connsiteX0" fmla="*/ 0 w 416718"/>
                <a:gd name="connsiteY0" fmla="*/ 0 h 4056770"/>
                <a:gd name="connsiteX1" fmla="*/ 71939 w 416718"/>
                <a:gd name="connsiteY1" fmla="*/ 72813 h 4056770"/>
                <a:gd name="connsiteX2" fmla="*/ 416718 w 416718"/>
                <a:gd name="connsiteY2" fmla="*/ 532518 h 4056770"/>
                <a:gd name="connsiteX3" fmla="*/ 416718 w 416718"/>
                <a:gd name="connsiteY3" fmla="*/ 4056770 h 4056770"/>
                <a:gd name="connsiteX4" fmla="*/ 0 w 416718"/>
                <a:gd name="connsiteY4" fmla="*/ 4056770 h 4056770"/>
                <a:gd name="connsiteX0" fmla="*/ 0 w 416718"/>
                <a:gd name="connsiteY0" fmla="*/ 0 h 4056770"/>
                <a:gd name="connsiteX1" fmla="*/ 416718 w 416718"/>
                <a:gd name="connsiteY1" fmla="*/ 532518 h 4056770"/>
                <a:gd name="connsiteX2" fmla="*/ 416718 w 416718"/>
                <a:gd name="connsiteY2" fmla="*/ 4056770 h 4056770"/>
                <a:gd name="connsiteX3" fmla="*/ 0 w 416718"/>
                <a:gd name="connsiteY3" fmla="*/ 4056770 h 4056770"/>
                <a:gd name="connsiteX4" fmla="*/ 0 w 416718"/>
                <a:gd name="connsiteY4" fmla="*/ 0 h 4056770"/>
                <a:gd name="connsiteX0" fmla="*/ 0 w 416718"/>
                <a:gd name="connsiteY0" fmla="*/ 0 h 3994887"/>
                <a:gd name="connsiteX1" fmla="*/ 416718 w 416718"/>
                <a:gd name="connsiteY1" fmla="*/ 470635 h 3994887"/>
                <a:gd name="connsiteX2" fmla="*/ 416718 w 416718"/>
                <a:gd name="connsiteY2" fmla="*/ 3994887 h 3994887"/>
                <a:gd name="connsiteX3" fmla="*/ 0 w 416718"/>
                <a:gd name="connsiteY3" fmla="*/ 3994887 h 3994887"/>
                <a:gd name="connsiteX4" fmla="*/ 0 w 416718"/>
                <a:gd name="connsiteY4" fmla="*/ 0 h 39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718" h="3994887">
                  <a:moveTo>
                    <a:pt x="0" y="0"/>
                  </a:moveTo>
                  <a:lnTo>
                    <a:pt x="416718" y="470635"/>
                  </a:lnTo>
                  <a:lnTo>
                    <a:pt x="416718" y="3994887"/>
                  </a:lnTo>
                  <a:lnTo>
                    <a:pt x="0" y="399488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35000">
                  <a:schemeClr val="accent1"/>
                </a:gs>
                <a:gs pos="96000">
                  <a:schemeClr val="accent2"/>
                </a:gs>
              </a:gsLst>
              <a:lin ang="0" scaled="0"/>
            </a:gra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369"/>
                </a:spcBef>
              </a:pPr>
              <a:endParaRPr lang="en-US" sz="1384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264249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40">
          <p15:clr>
            <a:srgbClr val="FBAE40"/>
          </p15:clr>
        </p15:guide>
        <p15:guide id="3" pos="5184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709">
          <p15:clr>
            <a:srgbClr val="FBAE40"/>
          </p15:clr>
        </p15:guide>
        <p15:guide id="6" orient="horz" pos="890">
          <p15:clr>
            <a:srgbClr val="FBAE40"/>
          </p15:clr>
        </p15:guide>
        <p15:guide id="7" orient="horz" pos="39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0597728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D5865-6656-4EFD-896A-034E0551A435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15795"/>
      </p:ext>
    </p:extLst>
  </p:cSld>
  <p:clrMapOvr>
    <a:masterClrMapping/>
  </p:clrMapOvr>
  <mc:AlternateContent xmlns:mc="http://schemas.openxmlformats.org/markup-compatibility/2006">
    <mc:Choice xmlns:p14="http://schemas.microsoft.com/office/powerpoint/2007/7/12/main" xmlns="" Requires="p14">
      <p:transition xmlns:p141="http://schemas.microsoft.com/office/powerpoint/2010/main" spd="slow" p141:dur="1700">
        <p141:gallery dir="l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0D4B4-11AB-486C-9A8F-F8B7C485446A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5578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9489-2004-4496-AED0-E92865381CFC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655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A5FD8-F4F7-4FA7-8825-76354B677DC6}" type="datetime1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91861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B3FBB-2E53-4865-B996-FEB75F58D51D}" type="datetime1">
              <a:rPr lang="en-US" smtClean="0"/>
              <a:t>10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35786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F16D9-4BB7-4F6A-89A7-3ECF64651EE8}" type="datetime1">
              <a:rPr lang="en-US" smtClean="0"/>
              <a:t>10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820334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0DD9-4030-44DB-802D-69EF5BA5FB1C}" type="datetime1">
              <a:rPr lang="en-US" smtClean="0"/>
              <a:t>10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09504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F6E11-08AE-4FA4-8E76-8ECF8A492AC9}" type="datetime1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310406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620117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76F0-BCC6-4042-B9A2-777E9C86CB7D}" type="datetime1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385716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D69-9B20-42FC-966D-CC1E914F3F67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848603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AAB878-9E93-4696-9E16-D59FCA95E499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909670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44451"/>
            <a:ext cx="676002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4" name="Action Button: Home 13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Curved Up Ribbon 18"/>
          <p:cNvSpPr/>
          <p:nvPr userDrawn="1"/>
        </p:nvSpPr>
        <p:spPr bwMode="auto">
          <a:xfrm>
            <a:off x="77698" y="169081"/>
            <a:ext cx="1723541" cy="538492"/>
          </a:xfrm>
          <a:prstGeom prst="ellipseRibbon2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35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3" name="Pentagon 22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24" name="Pentagon 23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26" name="Pentagon 25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27" name="Pentagon 26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28" name="Pentagon 27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29" name="Pentagon 28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90550010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QUTlogo295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2" y="6368844"/>
            <a:ext cx="430212" cy="425451"/>
          </a:xfrm>
          <a:prstGeom prst="rect">
            <a:avLst/>
          </a:prstGeom>
          <a:noFill/>
          <a:effectLst/>
        </p:spPr>
      </p:pic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523514" y="6421462"/>
            <a:ext cx="5395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76B7632-FD52-4BE2-A8C8-D079E7090294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035631" y="44451"/>
            <a:ext cx="6705599" cy="826407"/>
          </a:xfrm>
        </p:spPr>
        <p:txBody>
          <a:bodyPr/>
          <a:lstStyle>
            <a:lvl1pPr algn="l">
              <a:defRPr sz="240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6" name="Curved Up Ribbon 15"/>
          <p:cNvSpPr/>
          <p:nvPr userDrawn="1"/>
        </p:nvSpPr>
        <p:spPr bwMode="auto">
          <a:xfrm>
            <a:off x="54427" y="169081"/>
            <a:ext cx="1883232" cy="538492"/>
          </a:xfrm>
          <a:prstGeom prst="ellipseRibbon2">
            <a:avLst>
              <a:gd name="adj1" fmla="val 25000"/>
              <a:gd name="adj2" fmla="val 100000"/>
              <a:gd name="adj3" fmla="val 125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12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500034" y="1273635"/>
            <a:ext cx="8229600" cy="4871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9" name="Action Button: Home 28">
            <a:hlinkClick r:id="" action="ppaction://hlinkshowjump?jump=firstslide" highlightClick="1"/>
          </p:cNvPr>
          <p:cNvSpPr/>
          <p:nvPr userDrawn="1"/>
        </p:nvSpPr>
        <p:spPr bwMode="auto">
          <a:xfrm>
            <a:off x="565340" y="6433470"/>
            <a:ext cx="406334" cy="292999"/>
          </a:xfrm>
          <a:prstGeom prst="actionButtonHom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Pentagon 36">
            <a:hlinkClick r:id="" action="ppaction://noaction"/>
          </p:cNvPr>
          <p:cNvSpPr/>
          <p:nvPr userDrawn="1"/>
        </p:nvSpPr>
        <p:spPr bwMode="auto">
          <a:xfrm>
            <a:off x="1033437" y="6434161"/>
            <a:ext cx="75181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</a:t>
            </a:r>
          </a:p>
        </p:txBody>
      </p:sp>
      <p:sp>
        <p:nvSpPr>
          <p:cNvPr id="38" name="Pentagon 37">
            <a:hlinkClick r:id="" action="ppaction://noaction"/>
          </p:cNvPr>
          <p:cNvSpPr/>
          <p:nvPr userDrawn="1"/>
        </p:nvSpPr>
        <p:spPr bwMode="auto">
          <a:xfrm>
            <a:off x="1861454" y="6445952"/>
            <a:ext cx="1240977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LITERATURE</a:t>
            </a:r>
          </a:p>
        </p:txBody>
      </p:sp>
      <p:sp>
        <p:nvSpPr>
          <p:cNvPr id="39" name="Pentagon 38">
            <a:hlinkClick r:id="" action="ppaction://noaction"/>
          </p:cNvPr>
          <p:cNvSpPr/>
          <p:nvPr userDrawn="1"/>
        </p:nvSpPr>
        <p:spPr bwMode="auto">
          <a:xfrm>
            <a:off x="5334023" y="6446301"/>
            <a:ext cx="7075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</a:t>
            </a:r>
          </a:p>
        </p:txBody>
      </p:sp>
      <p:sp>
        <p:nvSpPr>
          <p:cNvPr id="40" name="Pentagon 39">
            <a:hlinkClick r:id="" action="ppaction://noaction"/>
          </p:cNvPr>
          <p:cNvSpPr/>
          <p:nvPr userDrawn="1"/>
        </p:nvSpPr>
        <p:spPr bwMode="auto">
          <a:xfrm>
            <a:off x="6096025" y="6445952"/>
            <a:ext cx="1229365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GRESS</a:t>
            </a:r>
          </a:p>
        </p:txBody>
      </p:sp>
      <p:sp>
        <p:nvSpPr>
          <p:cNvPr id="41" name="Pentagon 40">
            <a:hlinkClick r:id="" action="ppaction://noaction"/>
          </p:cNvPr>
          <p:cNvSpPr/>
          <p:nvPr userDrawn="1"/>
        </p:nvSpPr>
        <p:spPr bwMode="auto">
          <a:xfrm>
            <a:off x="7379820" y="6445952"/>
            <a:ext cx="1100159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MMARY</a:t>
            </a:r>
          </a:p>
        </p:txBody>
      </p:sp>
      <p:sp>
        <p:nvSpPr>
          <p:cNvPr id="42" name="Pentagon 41">
            <a:hlinkClick r:id="" action="ppaction://noaction"/>
          </p:cNvPr>
          <p:cNvSpPr/>
          <p:nvPr userDrawn="1"/>
        </p:nvSpPr>
        <p:spPr bwMode="auto">
          <a:xfrm>
            <a:off x="3167741" y="6446301"/>
            <a:ext cx="2100964" cy="292307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AU" sz="900" b="1" kern="12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OBLEM </a:t>
            </a:r>
            <a:r>
              <a:rPr lang="en-AU" sz="900" b="1" kern="1200" baseline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OBJECTIVE</a:t>
            </a:r>
            <a:endParaRPr lang="en-AU" sz="900" b="1" kern="1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77854628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2C75F-F2C0-48FF-B7DC-E98D754B180F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45091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16F06-BCC1-4ED7-BB60-A32BD32D5EE0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70775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590800"/>
            <a:ext cx="9144000" cy="12954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bg1"/>
            </a:solidFill>
          </a:ln>
          <a:effectLst>
            <a:outerShdw blurRad="520700" dir="2700000" algn="tl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1831" y="2929552"/>
            <a:ext cx="4837113" cy="681037"/>
          </a:xfrm>
        </p:spPr>
        <p:txBody>
          <a:bodyPr anchor="t">
            <a:noAutofit/>
          </a:bodyPr>
          <a:lstStyle>
            <a:lvl1pPr algn="l">
              <a:defRPr lang="en-US" sz="2500" b="1" kern="1200" cap="small" baseline="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Constanti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94843D-1CA7-41C6-A5C0-EC989D70FE74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56662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1" y="220098"/>
            <a:ext cx="220701" cy="487692"/>
          </a:xfrm>
          <a:prstGeom prst="rect">
            <a:avLst/>
          </a:prstGeom>
          <a:solidFill>
            <a:srgbClr val="3349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35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EA879E-2128-4032-AE0E-C995E5C555EA}"/>
              </a:ext>
            </a:extLst>
          </p:cNvPr>
          <p:cNvSpPr/>
          <p:nvPr userDrawn="1"/>
        </p:nvSpPr>
        <p:spPr>
          <a:xfrm>
            <a:off x="256707" y="163822"/>
            <a:ext cx="5631476" cy="600243"/>
          </a:xfrm>
          <a:prstGeom prst="roundRect">
            <a:avLst/>
          </a:prstGeom>
          <a:noFill/>
          <a:ln>
            <a:solidFill>
              <a:srgbClr val="33498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988238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921054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337746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767974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076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BB4F3-94B7-480D-B9BE-076AE2456976}"/>
              </a:ext>
            </a:extLst>
          </p:cNvPr>
          <p:cNvSpPr/>
          <p:nvPr userDrawn="1"/>
        </p:nvSpPr>
        <p:spPr>
          <a:xfrm>
            <a:off x="1" y="0"/>
            <a:ext cx="5281684" cy="65645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7"/>
          </a:p>
        </p:txBody>
      </p:sp>
    </p:spTree>
    <p:extLst>
      <p:ext uri="{BB962C8B-B14F-4D97-AF65-F5344CB8AC3E}">
        <p14:creationId xmlns:p14="http://schemas.microsoft.com/office/powerpoint/2010/main" val="2017670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B54B3-842B-4CAA-9AF9-83684E09AD1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45A4857F-AF3E-4BE5-A345-D41FE0BE4AE0}"/>
              </a:ext>
            </a:extLst>
          </p:cNvPr>
          <p:cNvGrpSpPr/>
          <p:nvPr userDrawn="1"/>
        </p:nvGrpSpPr>
        <p:grpSpPr>
          <a:xfrm>
            <a:off x="1" y="218363"/>
            <a:ext cx="5907311" cy="532216"/>
            <a:chOff x="0" y="254835"/>
            <a:chExt cx="6251557" cy="6307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26A8C8D-CC9C-411B-BC79-CCDF268A155C}"/>
                </a:ext>
              </a:extLst>
            </p:cNvPr>
            <p:cNvSpPr/>
            <p:nvPr/>
          </p:nvSpPr>
          <p:spPr>
            <a:xfrm>
              <a:off x="382275" y="254835"/>
              <a:ext cx="5869282" cy="6295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33EF430-B6A5-4185-AE1D-C9F96240810B}"/>
                </a:ext>
              </a:extLst>
            </p:cNvPr>
            <p:cNvSpPr/>
            <p:nvPr/>
          </p:nvSpPr>
          <p:spPr>
            <a:xfrm>
              <a:off x="0" y="255966"/>
              <a:ext cx="382276" cy="629586"/>
            </a:xfrm>
            <a:prstGeom prst="rect">
              <a:avLst/>
            </a:prstGeom>
            <a:solidFill>
              <a:srgbClr val="3349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5">
                <a:defRPr/>
              </a:pPr>
              <a:endParaRPr lang="id-ID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ABBCA183-4C40-499F-846B-22E6C2419642}"/>
                </a:ext>
              </a:extLst>
            </p:cNvPr>
            <p:cNvSpPr txBox="1">
              <a:spLocks/>
            </p:cNvSpPr>
            <p:nvPr/>
          </p:nvSpPr>
          <p:spPr>
            <a:xfrm>
              <a:off x="644609" y="254835"/>
              <a:ext cx="5209082" cy="629587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lvl="0">
                <a:buSzPct val="25000"/>
              </a:pPr>
              <a:endParaRPr lang="en-US" sz="3200" b="1" dirty="0">
                <a:solidFill>
                  <a:srgbClr val="33498D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314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473F9-0444-C547-8BBB-C2C129AEF00E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3E11E-7951-694D-993C-5251800F06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136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FE2846-9636-4F68-BCB8-25F5CE913C7E}" type="datetime1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284DC-B054-45EA-B030-034005E6E5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461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</p:sldLayoutIdLst>
  <p:transition spd="slow">
    <p:fade/>
  </p:transition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302759" y="836712"/>
            <a:ext cx="6850496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pecializ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Data Scienc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, Big Data, Parallel &amp; Distributed Computing, Machine Learning,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Applied Mathematics &amp; Statistics, Information System.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Current Posi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Founder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id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audata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Analytics (Indonesia)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rgbClr val="060BC6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4763" marR="0" lvl="0" indent="-4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5022" algn="l"/>
                <a:tab pos="944166" algn="l"/>
              </a:tabLst>
              <a:defRPr/>
            </a:pPr>
            <a:r>
              <a:rPr kumimoji="0" lang="id-ID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Lectur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I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yari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Hidayatull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Jakart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Depok (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PKW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Research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PPI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UIN-SH Jakarta*</a:t>
            </a: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endParaRPr kumimoji="0" lang="id-ID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Education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Khalifa University (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Postdoctoral – Data Driven Dynamical System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 – 202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Queensland University of Technology (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PhD – Data Science for Big Data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  - 2017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Tohoku University (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Research Program, Machine Learning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- 2007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New South Wales (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MScTech –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Applied Math/Data Mining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- 2005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University of Indonesia (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Ssi – Mathematic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/Computational Statistics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charset="0"/>
                <a:cs typeface="Calibri" charset="0"/>
              </a:rPr>
              <a:t> - 200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1078706" marR="0" lvl="0" indent="-107870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44166" algn="l"/>
                <a:tab pos="1078706" algn="l"/>
              </a:tabLst>
              <a:defRPr/>
            </a:pPr>
            <a:endParaRPr kumimoji="0" lang="id-ID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charset="0"/>
              <a:cs typeface="Calibri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07180" algn="l"/>
                <a:tab pos="807183" algn="l"/>
                <a:tab pos="1033385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Awards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: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 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One of the best researcher KemenAg - 2019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QUT Write-Up Award </a:t>
            </a:r>
            <a:r>
              <a:rPr kumimoji="0" lang="id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-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2017 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Australian Leadership Award - 201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Outstanding Awards PDT ADS -  2012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MonbuKagaKusho – 200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Junior Achievement International - 2002, ..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Contac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60BC6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Taufik.Sutanto@uinjkt.ac.i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3226FD-AB6E-4C80-9946-62CA2AC023F5}"/>
              </a:ext>
            </a:extLst>
          </p:cNvPr>
          <p:cNvSpPr txBox="1"/>
          <p:nvPr/>
        </p:nvSpPr>
        <p:spPr>
          <a:xfrm>
            <a:off x="332352" y="253610"/>
            <a:ext cx="36066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200" b="1" i="0" u="none" strike="noStrike" kern="1200" cap="none" spc="0" normalizeH="0" baseline="0" noProof="0" dirty="0">
                <a:ln>
                  <a:noFill/>
                </a:ln>
                <a:solidFill>
                  <a:srgbClr val="33498D"/>
                </a:solidFill>
                <a:effectLst/>
                <a:uLnTx/>
                <a:uFillTx/>
                <a:latin typeface="Calibri" panose="020F0502020204030204"/>
                <a:ea typeface="굴림" pitchFamily="50" charset="-127"/>
                <a:cs typeface="Arial" panose="020B0604020202020204" pitchFamily="34" charset="0"/>
              </a:rPr>
              <a:t>TAUFIK SUTANTO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33498D"/>
              </a:solidFill>
              <a:effectLst/>
              <a:uLnTx/>
              <a:uFillTx/>
              <a:latin typeface="Calibri" panose="020F0502020204030204"/>
              <a:ea typeface="굴림" pitchFamily="50" charset="-127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5E3575-4551-4986-B426-D47F69E9EDFF}"/>
              </a:ext>
            </a:extLst>
          </p:cNvPr>
          <p:cNvSpPr txBox="1">
            <a:spLocks/>
          </p:cNvSpPr>
          <p:nvPr/>
        </p:nvSpPr>
        <p:spPr>
          <a:xfrm>
            <a:off x="3749761" y="74843"/>
            <a:ext cx="2910574" cy="103374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Arial" panose="020B0604020202020204" pitchFamily="34" charset="0"/>
                <a:sym typeface="Calibri" pitchFamily="34" charset="0"/>
              </a:rPr>
              <a:t>S.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Arial" panose="020B0604020202020204" pitchFamily="34" charset="0"/>
                <a:sym typeface="Calibri" pitchFamily="34" charset="0"/>
              </a:rPr>
              <a:t>S</a:t>
            </a:r>
            <a:r>
              <a:rPr kumimoji="0" lang="en-US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Arial" panose="020B0604020202020204" pitchFamily="34" charset="0"/>
                <a:sym typeface="Calibri" pitchFamily="34" charset="0"/>
              </a:rPr>
              <a:t>i, </a:t>
            </a:r>
            <a:r>
              <a:rPr kumimoji="0" lang="id-ID" alt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굴림" pitchFamily="50" charset="-127"/>
                <a:cs typeface="Arial" panose="020B0604020202020204" pitchFamily="34" charset="0"/>
                <a:sym typeface="Calibri" pitchFamily="34" charset="0"/>
              </a:rPr>
              <a:t>MScTech, Ph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393672-DC62-4097-B26C-D52FA86E8180}"/>
              </a:ext>
            </a:extLst>
          </p:cNvPr>
          <p:cNvGrpSpPr/>
          <p:nvPr/>
        </p:nvGrpSpPr>
        <p:grpSpPr>
          <a:xfrm>
            <a:off x="431490" y="3784401"/>
            <a:ext cx="1379034" cy="648072"/>
            <a:chOff x="378531" y="1690768"/>
            <a:chExt cx="3101820" cy="151216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F60B466-1AEA-457A-88E6-D6AC73663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531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4CE6BC-0898-4E13-929B-AAF474889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9726" y="1690768"/>
              <a:ext cx="1430625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B268C8-E4BC-46DB-87CD-95C9523346A5}"/>
              </a:ext>
            </a:extLst>
          </p:cNvPr>
          <p:cNvGrpSpPr/>
          <p:nvPr/>
        </p:nvGrpSpPr>
        <p:grpSpPr>
          <a:xfrm>
            <a:off x="332352" y="5655716"/>
            <a:ext cx="1379033" cy="648072"/>
            <a:chOff x="3655893" y="1690766"/>
            <a:chExt cx="3166846" cy="151216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1C7997-28BD-4200-9C31-29CA16EB4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5893" y="1690768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C5BD721-4FE6-4CBE-B5C2-C8EDB8113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7086" y="1690766"/>
              <a:ext cx="1495653" cy="151216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2BC7124D-2D35-483B-9AB8-5BE50BD6611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609" t="4986" r="11191" b="14621"/>
          <a:stretch/>
        </p:blipFill>
        <p:spPr>
          <a:xfrm>
            <a:off x="669712" y="4612046"/>
            <a:ext cx="780754" cy="8640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115E78A-C870-4B04-8F9E-E89604B2CA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86115" y="49082"/>
            <a:ext cx="1157885" cy="10131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38F9B79-756E-0484-108E-BEE813B4757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043" y="74843"/>
            <a:ext cx="1037851" cy="1037851"/>
          </a:xfrm>
          <a:prstGeom prst="rect">
            <a:avLst/>
          </a:prstGeom>
        </p:spPr>
      </p:pic>
      <p:pic>
        <p:nvPicPr>
          <p:cNvPr id="7" name="Picture 6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457B5D24-02E8-B199-28DF-FEEFCEDD9D7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24" y="799699"/>
            <a:ext cx="1815631" cy="289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254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FE0vyQuGiICUhr1HdYg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77</TotalTime>
  <Words>181</Words>
  <Application>Microsoft Office PowerPoint</Application>
  <PresentationFormat>On-screen Show (4:3)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(Body)</vt:lpstr>
      <vt:lpstr>Calibri Light</vt:lpstr>
      <vt:lpstr>Constantia</vt:lpstr>
      <vt:lpstr>Tahoma</vt:lpstr>
      <vt:lpstr>4_Office Theme</vt:lpstr>
      <vt:lpstr>1_Office Theme</vt:lpstr>
      <vt:lpstr>think-cell Slide</vt:lpstr>
      <vt:lpstr>PowerPoint Presentation</vt:lpstr>
    </vt:vector>
  </TitlesOfParts>
  <Company>Gui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Taufik Sutanto</dc:creator>
  <cp:lastModifiedBy>Taufik Edy Sutanto</cp:lastModifiedBy>
  <cp:revision>1422</cp:revision>
  <cp:lastPrinted>2021-02-27T02:41:23Z</cp:lastPrinted>
  <dcterms:created xsi:type="dcterms:W3CDTF">2005-06-13T01:02:31Z</dcterms:created>
  <dcterms:modified xsi:type="dcterms:W3CDTF">2022-10-04T00:18:32Z</dcterms:modified>
</cp:coreProperties>
</file>